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47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B0-4A72-8419-B5D68B67170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B0-4A72-8419-B5D68B67170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1B0-4A72-8419-B5D68B67170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1B0-4A72-8419-B5D68B67170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1B0-4A72-8419-B5D68B67170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1B0-4A72-8419-B5D68B671700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Logo</c:v>
                </c:pt>
                <c:pt idx="1">
                  <c:v>Logo</c:v>
                </c:pt>
                <c:pt idx="2">
                  <c:v>Logo</c:v>
                </c:pt>
                <c:pt idx="3">
                  <c:v>Logo</c:v>
                </c:pt>
                <c:pt idx="4">
                  <c:v>Logo</c:v>
                </c:pt>
                <c:pt idx="5">
                  <c:v>Logo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24</c:v>
                </c:pt>
                <c:pt idx="1">
                  <c:v>0.51</c:v>
                </c:pt>
                <c:pt idx="2">
                  <c:v>0.78</c:v>
                </c:pt>
                <c:pt idx="3">
                  <c:v>0.8</c:v>
                </c:pt>
                <c:pt idx="4">
                  <c:v>0.83</c:v>
                </c:pt>
                <c:pt idx="5">
                  <c:v>0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1B0-4A72-8419-B5D68B67170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100"/>
        <c:axId val="744375864"/>
        <c:axId val="744376520"/>
      </c:barChart>
      <c:catAx>
        <c:axId val="744375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44376520"/>
        <c:crosses val="autoZero"/>
        <c:auto val="1"/>
        <c:lblAlgn val="ctr"/>
        <c:lblOffset val="100"/>
        <c:noMultiLvlLbl val="0"/>
      </c:catAx>
      <c:valAx>
        <c:axId val="744376520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44375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sz="1600" b="0" i="0" u="none" strike="noStrike" kern="1200" baseline="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47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BC900F-78E7-7B8C-31E8-6365308253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1647BF7-CE11-B202-E9C7-5201ED0F8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647BF7-CE11-B202-E9C7-5201ED0F8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C57E76-BA29-F462-17BC-C86DD5FFF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694D4A8-2554-A49A-BE21-C887356D8D75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271A5A2-D29E-FCBD-6D34-96ECFE612DB6}"/>
              </a:ext>
            </a:extLst>
          </p:cNvPr>
          <p:cNvGraphicFramePr>
            <a:graphicFrameLocks/>
          </p:cNvGraphicFramePr>
          <p:nvPr/>
        </p:nvGraphicFramePr>
        <p:xfrm>
          <a:off x="628649" y="1550544"/>
          <a:ext cx="16001999" cy="69467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731303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53</TotalTime>
  <Words>2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75</cp:revision>
  <dcterms:created xsi:type="dcterms:W3CDTF">2006-08-16T00:00:00Z</dcterms:created>
  <dcterms:modified xsi:type="dcterms:W3CDTF">2025-10-06T09:58:49Z</dcterms:modified>
  <cp:category/>
  <dc:identifier>DAGkDf5R9EM</dc:identifier>
</cp:coreProperties>
</file>